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1443CE-4D6A-4B36-B424-EA5FD5F72F8C}" v="34" dt="2024-09-06T11:04:10.1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Satish, Chitteshwari SBOBNG-PTIY/TEG" userId="78ec867f-d18d-456f-9216-d00c1fef8b05" providerId="ADAL" clId="{F01443CE-4D6A-4B36-B424-EA5FD5F72F8C}"/>
    <pc:docChg chg="undo custSel modSld">
      <pc:chgData name="Satish, Chitteshwari SBOBNG-PTIY/TEG" userId="78ec867f-d18d-456f-9216-d00c1fef8b05" providerId="ADAL" clId="{F01443CE-4D6A-4B36-B424-EA5FD5F72F8C}" dt="2024-09-06T11:04:56.533" v="2414" actId="255"/>
      <pc:docMkLst>
        <pc:docMk/>
      </pc:docMkLst>
      <pc:sldChg chg="modSp mod">
        <pc:chgData name="Satish, Chitteshwari SBOBNG-PTIY/TEG" userId="78ec867f-d18d-456f-9216-d00c1fef8b05" providerId="ADAL" clId="{F01443CE-4D6A-4B36-B424-EA5FD5F72F8C}" dt="2024-09-06T10:25:41.919" v="34" actId="20577"/>
        <pc:sldMkLst>
          <pc:docMk/>
          <pc:sldMk cId="3267775274" sldId="256"/>
        </pc:sldMkLst>
        <pc:spChg chg="mod">
          <ac:chgData name="Satish, Chitteshwari SBOBNG-PTIY/TEG" userId="78ec867f-d18d-456f-9216-d00c1fef8b05" providerId="ADAL" clId="{F01443CE-4D6A-4B36-B424-EA5FD5F72F8C}" dt="2024-09-06T10:25:26.118" v="2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Satish, Chitteshwari SBOBNG-PTIY/TEG" userId="78ec867f-d18d-456f-9216-d00c1fef8b05" providerId="ADAL" clId="{F01443CE-4D6A-4B36-B424-EA5FD5F72F8C}" dt="2024-09-06T10:25:32.580" v="21" actId="20577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Satish, Chitteshwari SBOBNG-PTIY/TEG" userId="78ec867f-d18d-456f-9216-d00c1fef8b05" providerId="ADAL" clId="{F01443CE-4D6A-4B36-B424-EA5FD5F72F8C}" dt="2024-09-06T10:25:41.919" v="34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addSp modSp mod">
        <pc:chgData name="Satish, Chitteshwari SBOBNG-PTIY/TEG" userId="78ec867f-d18d-456f-9216-d00c1fef8b05" providerId="ADAL" clId="{F01443CE-4D6A-4B36-B424-EA5FD5F72F8C}" dt="2024-09-06T10:26:42.429" v="39"/>
        <pc:sldMkLst>
          <pc:docMk/>
          <pc:sldMk cId="867832184" sldId="2147375589"/>
        </pc:sldMkLst>
        <pc:spChg chg="mod">
          <ac:chgData name="Satish, Chitteshwari SBOBNG-PTIY/TEG" userId="78ec867f-d18d-456f-9216-d00c1fef8b05" providerId="ADAL" clId="{F01443CE-4D6A-4B36-B424-EA5FD5F72F8C}" dt="2024-09-06T10:26:31.626" v="37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Satish, Chitteshwari SBOBNG-PTIY/TEG" userId="78ec867f-d18d-456f-9216-d00c1fef8b05" providerId="ADAL" clId="{F01443CE-4D6A-4B36-B424-EA5FD5F72F8C}" dt="2024-09-06T10:26:39.023" v="38" actId="20577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Satish, Chitteshwari SBOBNG-PTIY/TEG" userId="78ec867f-d18d-456f-9216-d00c1fef8b05" providerId="ADAL" clId="{F01443CE-4D6A-4B36-B424-EA5FD5F72F8C}" dt="2024-09-06T10:26:42.429" v="39"/>
          <ac:picMkLst>
            <pc:docMk/>
            <pc:sldMk cId="867832184" sldId="2147375589"/>
            <ac:picMk id="2" creationId="{17CA8FEC-740E-3158-AD44-BE1032C48A6B}"/>
          </ac:picMkLst>
        </pc:picChg>
      </pc:sldChg>
      <pc:sldChg chg="addSp delSp modSp mod">
        <pc:chgData name="Satish, Chitteshwari SBOBNG-PTIY/TEG" userId="78ec867f-d18d-456f-9216-d00c1fef8b05" providerId="ADAL" clId="{F01443CE-4D6A-4B36-B424-EA5FD5F72F8C}" dt="2024-09-06T10:31:26.355" v="378" actId="1076"/>
        <pc:sldMkLst>
          <pc:docMk/>
          <pc:sldMk cId="245881457" sldId="2147375597"/>
        </pc:sldMkLst>
        <pc:spChg chg="mod">
          <ac:chgData name="Satish, Chitteshwari SBOBNG-PTIY/TEG" userId="78ec867f-d18d-456f-9216-d00c1fef8b05" providerId="ADAL" clId="{F01443CE-4D6A-4B36-B424-EA5FD5F72F8C}" dt="2024-09-06T10:30:10.778" v="371" actId="20577"/>
          <ac:spMkLst>
            <pc:docMk/>
            <pc:sldMk cId="245881457" sldId="2147375597"/>
            <ac:spMk id="11" creationId="{DE9F1BE0-7910-FA1B-DCE8-56EFD1E4FC09}"/>
          </ac:spMkLst>
        </pc:spChg>
        <pc:spChg chg="mod">
          <ac:chgData name="Satish, Chitteshwari SBOBNG-PTIY/TEG" userId="78ec867f-d18d-456f-9216-d00c1fef8b05" providerId="ADAL" clId="{F01443CE-4D6A-4B36-B424-EA5FD5F72F8C}" dt="2024-09-06T10:31:12.580" v="372" actId="20577"/>
          <ac:spMkLst>
            <pc:docMk/>
            <pc:sldMk cId="245881457" sldId="2147375597"/>
            <ac:spMk id="12" creationId="{E53E5C3F-4D2B-B85F-E592-E58E032C664C}"/>
          </ac:spMkLst>
        </pc:spChg>
        <pc:picChg chg="add mod">
          <ac:chgData name="Satish, Chitteshwari SBOBNG-PTIY/TEG" userId="78ec867f-d18d-456f-9216-d00c1fef8b05" providerId="ADAL" clId="{F01443CE-4D6A-4B36-B424-EA5FD5F72F8C}" dt="2024-09-06T10:27:04.010" v="40"/>
          <ac:picMkLst>
            <pc:docMk/>
            <pc:sldMk cId="245881457" sldId="2147375597"/>
            <ac:picMk id="2" creationId="{E82EA949-6BB7-5C94-9B7D-8BEDF56EF82F}"/>
          </ac:picMkLst>
        </pc:picChg>
        <pc:picChg chg="add mod">
          <ac:chgData name="Satish, Chitteshwari SBOBNG-PTIY/TEG" userId="78ec867f-d18d-456f-9216-d00c1fef8b05" providerId="ADAL" clId="{F01443CE-4D6A-4B36-B424-EA5FD5F72F8C}" dt="2024-09-06T10:27:16.133" v="41"/>
          <ac:picMkLst>
            <pc:docMk/>
            <pc:sldMk cId="245881457" sldId="2147375597"/>
            <ac:picMk id="5" creationId="{038DA11F-F59A-2F35-3217-488A9ECC764D}"/>
          </ac:picMkLst>
        </pc:picChg>
        <pc:picChg chg="add del mod">
          <ac:chgData name="Satish, Chitteshwari SBOBNG-PTIY/TEG" userId="78ec867f-d18d-456f-9216-d00c1fef8b05" providerId="ADAL" clId="{F01443CE-4D6A-4B36-B424-EA5FD5F72F8C}" dt="2024-09-06T10:27:28.147" v="43" actId="478"/>
          <ac:picMkLst>
            <pc:docMk/>
            <pc:sldMk cId="245881457" sldId="2147375597"/>
            <ac:picMk id="6" creationId="{CEC78B0B-35D5-B1FE-DA9A-06080769C5E1}"/>
          </ac:picMkLst>
        </pc:picChg>
        <pc:picChg chg="add mod">
          <ac:chgData name="Satish, Chitteshwari SBOBNG-PTIY/TEG" userId="78ec867f-d18d-456f-9216-d00c1fef8b05" providerId="ADAL" clId="{F01443CE-4D6A-4B36-B424-EA5FD5F72F8C}" dt="2024-09-06T10:31:26.355" v="378" actId="1076"/>
          <ac:picMkLst>
            <pc:docMk/>
            <pc:sldMk cId="245881457" sldId="2147375597"/>
            <ac:picMk id="1026" creationId="{88533B8A-0B80-4F6D-A16B-322ABCCDD9D2}"/>
          </ac:picMkLst>
        </pc:picChg>
      </pc:sldChg>
      <pc:sldChg chg="addSp modSp mod">
        <pc:chgData name="Satish, Chitteshwari SBOBNG-PTIY/TEG" userId="78ec867f-d18d-456f-9216-d00c1fef8b05" providerId="ADAL" clId="{F01443CE-4D6A-4B36-B424-EA5FD5F72F8C}" dt="2024-09-06T10:36:54.082" v="856"/>
        <pc:sldMkLst>
          <pc:docMk/>
          <pc:sldMk cId="1181112711" sldId="2147375600"/>
        </pc:sldMkLst>
        <pc:spChg chg="mod">
          <ac:chgData name="Satish, Chitteshwari SBOBNG-PTIY/TEG" userId="78ec867f-d18d-456f-9216-d00c1fef8b05" providerId="ADAL" clId="{F01443CE-4D6A-4B36-B424-EA5FD5F72F8C}" dt="2024-09-06T10:35:17.230" v="830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Satish, Chitteshwari SBOBNG-PTIY/TEG" userId="78ec867f-d18d-456f-9216-d00c1fef8b05" providerId="ADAL" clId="{F01443CE-4D6A-4B36-B424-EA5FD5F72F8C}" dt="2024-09-06T10:36:52.472" v="855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Satish, Chitteshwari SBOBNG-PTIY/TEG" userId="78ec867f-d18d-456f-9216-d00c1fef8b05" providerId="ADAL" clId="{F01443CE-4D6A-4B36-B424-EA5FD5F72F8C}" dt="2024-09-06T10:36:54.082" v="856"/>
          <ac:picMkLst>
            <pc:docMk/>
            <pc:sldMk cId="1181112711" sldId="2147375600"/>
            <ac:picMk id="2" creationId="{2F271594-B1DE-76A0-D80E-5758333337E9}"/>
          </ac:picMkLst>
        </pc:picChg>
      </pc:sldChg>
      <pc:sldChg chg="addSp delSp modSp mod">
        <pc:chgData name="Satish, Chitteshwari SBOBNG-PTIY/TEG" userId="78ec867f-d18d-456f-9216-d00c1fef8b05" providerId="ADAL" clId="{F01443CE-4D6A-4B36-B424-EA5FD5F72F8C}" dt="2024-09-06T11:04:56.533" v="2414" actId="255"/>
        <pc:sldMkLst>
          <pc:docMk/>
          <pc:sldMk cId="3233747587" sldId="2147375601"/>
        </pc:sldMkLst>
        <pc:spChg chg="mod">
          <ac:chgData name="Satish, Chitteshwari SBOBNG-PTIY/TEG" userId="78ec867f-d18d-456f-9216-d00c1fef8b05" providerId="ADAL" clId="{F01443CE-4D6A-4B36-B424-EA5FD5F72F8C}" dt="2024-09-06T11:04:56.533" v="2414" actId="255"/>
          <ac:spMkLst>
            <pc:docMk/>
            <pc:sldMk cId="3233747587" sldId="2147375601"/>
            <ac:spMk id="11" creationId="{DE9F1BE0-7910-FA1B-DCE8-56EFD1E4FC09}"/>
          </ac:spMkLst>
        </pc:spChg>
        <pc:spChg chg="mod">
          <ac:chgData name="Satish, Chitteshwari SBOBNG-PTIY/TEG" userId="78ec867f-d18d-456f-9216-d00c1fef8b05" providerId="ADAL" clId="{F01443CE-4D6A-4B36-B424-EA5FD5F72F8C}" dt="2024-09-06T10:36:36.320" v="851" actId="20577"/>
          <ac:spMkLst>
            <pc:docMk/>
            <pc:sldMk cId="3233747587" sldId="2147375601"/>
            <ac:spMk id="12" creationId="{E53E5C3F-4D2B-B85F-E592-E58E032C664C}"/>
          </ac:spMkLst>
        </pc:spChg>
        <pc:picChg chg="add del mod">
          <ac:chgData name="Satish, Chitteshwari SBOBNG-PTIY/TEG" userId="78ec867f-d18d-456f-9216-d00c1fef8b05" providerId="ADAL" clId="{F01443CE-4D6A-4B36-B424-EA5FD5F72F8C}" dt="2024-09-06T10:40:29.967" v="1106" actId="478"/>
          <ac:picMkLst>
            <pc:docMk/>
            <pc:sldMk cId="3233747587" sldId="2147375601"/>
            <ac:picMk id="2" creationId="{3EACFE75-DA3A-B831-2258-F0D235EC5D94}"/>
          </ac:picMkLst>
        </pc:picChg>
        <pc:picChg chg="add mod">
          <ac:chgData name="Satish, Chitteshwari SBOBNG-PTIY/TEG" userId="78ec867f-d18d-456f-9216-d00c1fef8b05" providerId="ADAL" clId="{F01443CE-4D6A-4B36-B424-EA5FD5F72F8C}" dt="2024-09-06T10:40:36.906" v="1110" actId="1076"/>
          <ac:picMkLst>
            <pc:docMk/>
            <pc:sldMk cId="3233747587" sldId="2147375601"/>
            <ac:picMk id="5" creationId="{B3F6EDC8-456E-AD10-05C3-883E9FE33E92}"/>
          </ac:picMkLst>
        </pc:picChg>
      </pc:sldChg>
      <pc:sldChg chg="addSp modSp mod">
        <pc:chgData name="Satish, Chitteshwari SBOBNG-PTIY/TEG" userId="78ec867f-d18d-456f-9216-d00c1fef8b05" providerId="ADAL" clId="{F01443CE-4D6A-4B36-B424-EA5FD5F72F8C}" dt="2024-09-06T11:03:32.080" v="2407" actId="1076"/>
        <pc:sldMkLst>
          <pc:docMk/>
          <pc:sldMk cId="3971512377" sldId="2147375603"/>
        </pc:sldMkLst>
        <pc:spChg chg="mod">
          <ac:chgData name="Satish, Chitteshwari SBOBNG-PTIY/TEG" userId="78ec867f-d18d-456f-9216-d00c1fef8b05" providerId="ADAL" clId="{F01443CE-4D6A-4B36-B424-EA5FD5F72F8C}" dt="2024-09-06T10:45:00.143" v="1184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Satish, Chitteshwari SBOBNG-PTIY/TEG" userId="78ec867f-d18d-456f-9216-d00c1fef8b05" providerId="ADAL" clId="{F01443CE-4D6A-4B36-B424-EA5FD5F72F8C}" dt="2024-09-06T11:02:56.385" v="2403" actId="20577"/>
          <ac:spMkLst>
            <pc:docMk/>
            <pc:sldMk cId="3971512377" sldId="2147375603"/>
            <ac:spMk id="12" creationId="{E53E5C3F-4D2B-B85F-E592-E58E032C664C}"/>
          </ac:spMkLst>
        </pc:spChg>
        <pc:picChg chg="add mod">
          <ac:chgData name="Satish, Chitteshwari SBOBNG-PTIY/TEG" userId="78ec867f-d18d-456f-9216-d00c1fef8b05" providerId="ADAL" clId="{F01443CE-4D6A-4B36-B424-EA5FD5F72F8C}" dt="2024-09-06T11:03:32.080" v="2407" actId="1076"/>
          <ac:picMkLst>
            <pc:docMk/>
            <pc:sldMk cId="3971512377" sldId="2147375603"/>
            <ac:picMk id="4098" creationId="{13E7B9E7-CA7E-F9B2-ECA5-150F1664EF8D}"/>
          </ac:picMkLst>
        </pc:picChg>
      </pc:sldChg>
      <pc:sldChg chg="addSp modSp mod">
        <pc:chgData name="Satish, Chitteshwari SBOBNG-PTIY/TEG" userId="78ec867f-d18d-456f-9216-d00c1fef8b05" providerId="ADAL" clId="{F01443CE-4D6A-4B36-B424-EA5FD5F72F8C}" dt="2024-09-06T11:04:10.135" v="2410" actId="1076"/>
        <pc:sldMkLst>
          <pc:docMk/>
          <pc:sldMk cId="3179805674" sldId="2147375604"/>
        </pc:sldMkLst>
        <pc:spChg chg="mod">
          <ac:chgData name="Satish, Chitteshwari SBOBNG-PTIY/TEG" userId="78ec867f-d18d-456f-9216-d00c1fef8b05" providerId="ADAL" clId="{F01443CE-4D6A-4B36-B424-EA5FD5F72F8C}" dt="2024-09-06T10:46:51.053" v="1193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Satish, Chitteshwari SBOBNG-PTIY/TEG" userId="78ec867f-d18d-456f-9216-d00c1fef8b05" providerId="ADAL" clId="{F01443CE-4D6A-4B36-B424-EA5FD5F72F8C}" dt="2024-09-06T11:03:01.129" v="2404" actId="20577"/>
          <ac:spMkLst>
            <pc:docMk/>
            <pc:sldMk cId="3179805674" sldId="2147375604"/>
            <ac:spMk id="12" creationId="{E53E5C3F-4D2B-B85F-E592-E58E032C664C}"/>
          </ac:spMkLst>
        </pc:spChg>
        <pc:picChg chg="add mod">
          <ac:chgData name="Satish, Chitteshwari SBOBNG-PTIY/TEG" userId="78ec867f-d18d-456f-9216-d00c1fef8b05" providerId="ADAL" clId="{F01443CE-4D6A-4B36-B424-EA5FD5F72F8C}" dt="2024-09-06T11:04:10.135" v="2410" actId="1076"/>
          <ac:picMkLst>
            <pc:docMk/>
            <pc:sldMk cId="3179805674" sldId="2147375604"/>
            <ac:picMk id="5122" creationId="{8F46C2A4-765B-150A-D879-D6A059B5B01A}"/>
          </ac:picMkLst>
        </pc:picChg>
      </pc:sldChg>
      <pc:sldChg chg="addSp modSp mod">
        <pc:chgData name="Satish, Chitteshwari SBOBNG-PTIY/TEG" userId="78ec867f-d18d-456f-9216-d00c1fef8b05" providerId="ADAL" clId="{F01443CE-4D6A-4B36-B424-EA5FD5F72F8C}" dt="2024-09-06T10:49:18.923" v="1230" actId="14100"/>
        <pc:sldMkLst>
          <pc:docMk/>
          <pc:sldMk cId="86366928" sldId="2147375605"/>
        </pc:sldMkLst>
        <pc:spChg chg="mod">
          <ac:chgData name="Satish, Chitteshwari SBOBNG-PTIY/TEG" userId="78ec867f-d18d-456f-9216-d00c1fef8b05" providerId="ADAL" clId="{F01443CE-4D6A-4B36-B424-EA5FD5F72F8C}" dt="2024-09-06T10:49:18.923" v="1230" actId="14100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Satish, Chitteshwari SBOBNG-PTIY/TEG" userId="78ec867f-d18d-456f-9216-d00c1fef8b05" providerId="ADAL" clId="{F01443CE-4D6A-4B36-B424-EA5FD5F72F8C}" dt="2024-09-06T10:49:15.146" v="1228" actId="14100"/>
          <ac:spMkLst>
            <pc:docMk/>
            <pc:sldMk cId="86366928" sldId="2147375605"/>
            <ac:spMk id="12" creationId="{E53E5C3F-4D2B-B85F-E592-E58E032C664C}"/>
          </ac:spMkLst>
        </pc:spChg>
        <pc:picChg chg="add mod">
          <ac:chgData name="Satish, Chitteshwari SBOBNG-PTIY/TEG" userId="78ec867f-d18d-456f-9216-d00c1fef8b05" providerId="ADAL" clId="{F01443CE-4D6A-4B36-B424-EA5FD5F72F8C}" dt="2024-09-06T10:49:16.544" v="1229" actId="1076"/>
          <ac:picMkLst>
            <pc:docMk/>
            <pc:sldMk cId="86366928" sldId="2147375605"/>
            <ac:picMk id="2" creationId="{D622D378-FCC8-57C0-D386-2140D6B3CC9C}"/>
          </ac:picMkLst>
        </pc:picChg>
      </pc:sldChg>
      <pc:sldChg chg="addSp modSp mod">
        <pc:chgData name="Satish, Chitteshwari SBOBNG-PTIY/TEG" userId="78ec867f-d18d-456f-9216-d00c1fef8b05" providerId="ADAL" clId="{F01443CE-4D6A-4B36-B424-EA5FD5F72F8C}" dt="2024-09-06T10:56:38.388" v="1847" actId="1076"/>
        <pc:sldMkLst>
          <pc:docMk/>
          <pc:sldMk cId="2340944189" sldId="2147375607"/>
        </pc:sldMkLst>
        <pc:spChg chg="mod">
          <ac:chgData name="Satish, Chitteshwari SBOBNG-PTIY/TEG" userId="78ec867f-d18d-456f-9216-d00c1fef8b05" providerId="ADAL" clId="{F01443CE-4D6A-4B36-B424-EA5FD5F72F8C}" dt="2024-09-06T10:49:57.112" v="1233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Satish, Chitteshwari SBOBNG-PTIY/TEG" userId="78ec867f-d18d-456f-9216-d00c1fef8b05" providerId="ADAL" clId="{F01443CE-4D6A-4B36-B424-EA5FD5F72F8C}" dt="2024-09-06T10:56:22.895" v="1842" actId="20577"/>
          <ac:spMkLst>
            <pc:docMk/>
            <pc:sldMk cId="2340944189" sldId="2147375607"/>
            <ac:spMk id="12" creationId="{E53E5C3F-4D2B-B85F-E592-E58E032C664C}"/>
          </ac:spMkLst>
        </pc:spChg>
        <pc:picChg chg="add mod">
          <ac:chgData name="Satish, Chitteshwari SBOBNG-PTIY/TEG" userId="78ec867f-d18d-456f-9216-d00c1fef8b05" providerId="ADAL" clId="{F01443CE-4D6A-4B36-B424-EA5FD5F72F8C}" dt="2024-09-06T10:56:38.388" v="1847" actId="1076"/>
          <ac:picMkLst>
            <pc:docMk/>
            <pc:sldMk cId="2340944189" sldId="2147375607"/>
            <ac:picMk id="3074" creationId="{171D25CA-2B50-90A4-CF6F-2A7E55A54E61}"/>
          </ac:picMkLst>
        </pc:picChg>
      </pc:sldChg>
      <pc:sldChg chg="addSp modSp mod">
        <pc:chgData name="Satish, Chitteshwari SBOBNG-PTIY/TEG" userId="78ec867f-d18d-456f-9216-d00c1fef8b05" providerId="ADAL" clId="{F01443CE-4D6A-4B36-B424-EA5FD5F72F8C}" dt="2024-09-06T10:55:49.468" v="1841" actId="1076"/>
        <pc:sldMkLst>
          <pc:docMk/>
          <pc:sldMk cId="3159148252" sldId="2147375608"/>
        </pc:sldMkLst>
        <pc:spChg chg="mod">
          <ac:chgData name="Satish, Chitteshwari SBOBNG-PTIY/TEG" userId="78ec867f-d18d-456f-9216-d00c1fef8b05" providerId="ADAL" clId="{F01443CE-4D6A-4B36-B424-EA5FD5F72F8C}" dt="2024-09-06T10:54:47.380" v="1835" actId="20577"/>
          <ac:spMkLst>
            <pc:docMk/>
            <pc:sldMk cId="3159148252" sldId="2147375608"/>
            <ac:spMk id="11" creationId="{DE9F1BE0-7910-FA1B-DCE8-56EFD1E4FC09}"/>
          </ac:spMkLst>
        </pc:spChg>
        <pc:spChg chg="mod">
          <ac:chgData name="Satish, Chitteshwari SBOBNG-PTIY/TEG" userId="78ec867f-d18d-456f-9216-d00c1fef8b05" providerId="ADAL" clId="{F01443CE-4D6A-4B36-B424-EA5FD5F72F8C}" dt="2024-09-06T10:55:41.962" v="1837" actId="20577"/>
          <ac:spMkLst>
            <pc:docMk/>
            <pc:sldMk cId="3159148252" sldId="2147375608"/>
            <ac:spMk id="12" creationId="{E53E5C3F-4D2B-B85F-E592-E58E032C664C}"/>
          </ac:spMkLst>
        </pc:spChg>
        <pc:picChg chg="add mod">
          <ac:chgData name="Satish, Chitteshwari SBOBNG-PTIY/TEG" userId="78ec867f-d18d-456f-9216-d00c1fef8b05" providerId="ADAL" clId="{F01443CE-4D6A-4B36-B424-EA5FD5F72F8C}" dt="2024-09-06T10:55:49.468" v="1841" actId="1076"/>
          <ac:picMkLst>
            <pc:docMk/>
            <pc:sldMk cId="3159148252" sldId="2147375608"/>
            <ac:picMk id="2050" creationId="{7822C085-3276-1B81-C34F-D161AF8879A2}"/>
          </ac:picMkLst>
        </pc:picChg>
      </pc:sldChg>
      <pc:sldChg chg="addSp modSp mod">
        <pc:chgData name="Satish, Chitteshwari SBOBNG-PTIY/TEG" userId="78ec867f-d18d-456f-9216-d00c1fef8b05" providerId="ADAL" clId="{F01443CE-4D6A-4B36-B424-EA5FD5F72F8C}" dt="2024-09-06T10:53:37.607" v="1614" actId="1076"/>
        <pc:sldMkLst>
          <pc:docMk/>
          <pc:sldMk cId="3070204084" sldId="2147375609"/>
        </pc:sldMkLst>
        <pc:spChg chg="mod">
          <ac:chgData name="Satish, Chitteshwari SBOBNG-PTIY/TEG" userId="78ec867f-d18d-456f-9216-d00c1fef8b05" providerId="ADAL" clId="{F01443CE-4D6A-4B36-B424-EA5FD5F72F8C}" dt="2024-09-06T10:53:07.747" v="1610" actId="20577"/>
          <ac:spMkLst>
            <pc:docMk/>
            <pc:sldMk cId="3070204084" sldId="2147375609"/>
            <ac:spMk id="11" creationId="{DE9F1BE0-7910-FA1B-DCE8-56EFD1E4FC09}"/>
          </ac:spMkLst>
        </pc:spChg>
        <pc:spChg chg="mod">
          <ac:chgData name="Satish, Chitteshwari SBOBNG-PTIY/TEG" userId="78ec867f-d18d-456f-9216-d00c1fef8b05" providerId="ADAL" clId="{F01443CE-4D6A-4B36-B424-EA5FD5F72F8C}" dt="2024-09-06T10:53:31.626" v="1611" actId="20577"/>
          <ac:spMkLst>
            <pc:docMk/>
            <pc:sldMk cId="3070204084" sldId="2147375609"/>
            <ac:spMk id="12" creationId="{E53E5C3F-4D2B-B85F-E592-E58E032C664C}"/>
          </ac:spMkLst>
        </pc:spChg>
        <pc:picChg chg="add mod">
          <ac:chgData name="Satish, Chitteshwari SBOBNG-PTIY/TEG" userId="78ec867f-d18d-456f-9216-d00c1fef8b05" providerId="ADAL" clId="{F01443CE-4D6A-4B36-B424-EA5FD5F72F8C}" dt="2024-09-06T10:53:37.607" v="1614" actId="1076"/>
          <ac:picMkLst>
            <pc:docMk/>
            <pc:sldMk cId="3070204084" sldId="2147375609"/>
            <ac:picMk id="5" creationId="{0EE01E97-EA8D-EBE8-3098-BF96FE719FDA}"/>
          </ac:picMkLst>
        </pc:picChg>
      </pc:sldChg>
      <pc:sldChg chg="modSp mod">
        <pc:chgData name="Satish, Chitteshwari SBOBNG-PTIY/TEG" userId="78ec867f-d18d-456f-9216-d00c1fef8b05" providerId="ADAL" clId="{F01443CE-4D6A-4B36-B424-EA5FD5F72F8C}" dt="2024-09-06T10:58:13.977" v="2006" actId="20577"/>
        <pc:sldMkLst>
          <pc:docMk/>
          <pc:sldMk cId="3754613224" sldId="2147375611"/>
        </pc:sldMkLst>
        <pc:spChg chg="mod">
          <ac:chgData name="Satish, Chitteshwari SBOBNG-PTIY/TEG" userId="78ec867f-d18d-456f-9216-d00c1fef8b05" providerId="ADAL" clId="{F01443CE-4D6A-4B36-B424-EA5FD5F72F8C}" dt="2024-09-06T10:57:38.990" v="1905" actId="20577"/>
          <ac:spMkLst>
            <pc:docMk/>
            <pc:sldMk cId="3754613224" sldId="2147375611"/>
            <ac:spMk id="18" creationId="{6C73795A-BE20-7075-E9C6-6F145CE60794}"/>
          </ac:spMkLst>
        </pc:spChg>
        <pc:spChg chg="mod">
          <ac:chgData name="Satish, Chitteshwari SBOBNG-PTIY/TEG" userId="78ec867f-d18d-456f-9216-d00c1fef8b05" providerId="ADAL" clId="{F01443CE-4D6A-4B36-B424-EA5FD5F72F8C}" dt="2024-09-06T10:58:07.294" v="1991" actId="20577"/>
          <ac:spMkLst>
            <pc:docMk/>
            <pc:sldMk cId="3754613224" sldId="2147375611"/>
            <ac:spMk id="19" creationId="{A3E2F4D1-4417-E244-3DB9-A6FF5866A342}"/>
          </ac:spMkLst>
        </pc:spChg>
        <pc:spChg chg="mod">
          <ac:chgData name="Satish, Chitteshwari SBOBNG-PTIY/TEG" userId="78ec867f-d18d-456f-9216-d00c1fef8b05" providerId="ADAL" clId="{F01443CE-4D6A-4B36-B424-EA5FD5F72F8C}" dt="2024-09-06T10:58:13.977" v="2006" actId="20577"/>
          <ac:spMkLst>
            <pc:docMk/>
            <pc:sldMk cId="3754613224" sldId="2147375611"/>
            <ac:spMk id="20" creationId="{3EBEB0AC-D407-44FD-A74F-90F67F3D13C3}"/>
          </ac:spMkLst>
        </pc:spChg>
      </pc:sldChg>
      <pc:sldChg chg="addSp modSp mod">
        <pc:chgData name="Satish, Chitteshwari SBOBNG-PTIY/TEG" userId="78ec867f-d18d-456f-9216-d00c1fef8b05" providerId="ADAL" clId="{F01443CE-4D6A-4B36-B424-EA5FD5F72F8C}" dt="2024-09-06T11:00:15.610" v="2172" actId="1076"/>
        <pc:sldMkLst>
          <pc:docMk/>
          <pc:sldMk cId="1148838763" sldId="2147375613"/>
        </pc:sldMkLst>
        <pc:spChg chg="mod">
          <ac:chgData name="Satish, Chitteshwari SBOBNG-PTIY/TEG" userId="78ec867f-d18d-456f-9216-d00c1fef8b05" providerId="ADAL" clId="{F01443CE-4D6A-4B36-B424-EA5FD5F72F8C}" dt="2024-09-06T10:59:33.649" v="2166" actId="20577"/>
          <ac:spMkLst>
            <pc:docMk/>
            <pc:sldMk cId="1148838763" sldId="2147375613"/>
            <ac:spMk id="11" creationId="{8CC1343B-2E39-FEFF-8FF6-46822F18B432}"/>
          </ac:spMkLst>
        </pc:spChg>
        <pc:spChg chg="mod">
          <ac:chgData name="Satish, Chitteshwari SBOBNG-PTIY/TEG" userId="78ec867f-d18d-456f-9216-d00c1fef8b05" providerId="ADAL" clId="{F01443CE-4D6A-4B36-B424-EA5FD5F72F8C}" dt="2024-09-06T11:00:04.126" v="2168" actId="20577"/>
          <ac:spMkLst>
            <pc:docMk/>
            <pc:sldMk cId="1148838763" sldId="2147375613"/>
            <ac:spMk id="12" creationId="{5A873A1A-E63F-91AE-7D43-ED0F86870147}"/>
          </ac:spMkLst>
        </pc:spChg>
        <pc:picChg chg="add mod">
          <ac:chgData name="Satish, Chitteshwari SBOBNG-PTIY/TEG" userId="78ec867f-d18d-456f-9216-d00c1fef8b05" providerId="ADAL" clId="{F01443CE-4D6A-4B36-B424-EA5FD5F72F8C}" dt="2024-09-06T11:00:15.610" v="2172" actId="1076"/>
          <ac:picMkLst>
            <pc:docMk/>
            <pc:sldMk cId="1148838763" sldId="2147375613"/>
            <ac:picMk id="5" creationId="{BE8B60B0-41FC-AF8D-CFF2-F5AC2058B802}"/>
          </ac:picMkLst>
        </pc:picChg>
      </pc:sldChg>
      <pc:sldChg chg="modSp mod">
        <pc:chgData name="Satish, Chitteshwari SBOBNG-PTIY/TEG" userId="78ec867f-d18d-456f-9216-d00c1fef8b05" providerId="ADAL" clId="{F01443CE-4D6A-4B36-B424-EA5FD5F72F8C}" dt="2024-09-06T11:02:03.459" v="2402" actId="20577"/>
        <pc:sldMkLst>
          <pc:docMk/>
          <pc:sldMk cId="3865850111" sldId="2147375614"/>
        </pc:sldMkLst>
        <pc:spChg chg="mod">
          <ac:chgData name="Satish, Chitteshwari SBOBNG-PTIY/TEG" userId="78ec867f-d18d-456f-9216-d00c1fef8b05" providerId="ADAL" clId="{F01443CE-4D6A-4B36-B424-EA5FD5F72F8C}" dt="2024-09-06T11:02:03.459" v="2402" actId="20577"/>
          <ac:spMkLst>
            <pc:docMk/>
            <pc:sldMk cId="3865850111" sldId="2147375614"/>
            <ac:spMk id="6" creationId="{AC2F88D2-81D4-FAD4-568E-A3F495B06411}"/>
          </ac:spMkLst>
        </pc:spChg>
      </pc:sld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3.png"/><Relationship Id="rId5" Type="http://schemas.openxmlformats.org/officeDocument/2006/relationships/hyperlink" Target="https://github.com/chitteshwari/Shell_training/tree/main" TargetMode="External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oleObject" Target="../embeddings/oleObject5.bin"/><Relationship Id="rId7" Type="http://schemas.openxmlformats.org/officeDocument/2006/relationships/hyperlink" Target="https://github.com/chitteshwari/Shell_training/tree/main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hitteshwari Sati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06-Sept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6215410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/>
              <a:t>Scalability: Allows Shell to scale their IT infrastructure up or down based on demand, optimizing resource usage.</a:t>
            </a:r>
          </a:p>
          <a:p>
            <a:pPr marL="0" indent="0">
              <a:buNone/>
            </a:pPr>
            <a:r>
              <a:rPr lang="en-GB" sz="2000" dirty="0"/>
              <a:t>Automation: DevOps practices automate deployment and operations, reducing manual errors and increasing efficiency.</a:t>
            </a:r>
          </a:p>
          <a:p>
            <a:pPr marL="0" indent="0">
              <a:buNone/>
            </a:pPr>
            <a:r>
              <a:rPr lang="en-GB" sz="2000" dirty="0"/>
              <a:t>Collaboration: Helps foster better collaboration between development and operations teams, enhancing productivity.</a:t>
            </a:r>
          </a:p>
          <a:p>
            <a:pPr marL="0" indent="0">
              <a:buNone/>
            </a:pPr>
            <a:r>
              <a:rPr lang="en-GB" sz="2000" dirty="0"/>
              <a:t>Cost Efficiency: Helps Shell reduce capital expenditure on physical hardware and maintenance.</a:t>
            </a:r>
          </a:p>
          <a:p>
            <a:pPr marL="0" indent="0">
              <a:buNone/>
            </a:pPr>
            <a:r>
              <a:rPr lang="en-GB" sz="2000" dirty="0"/>
              <a:t>Agility: Enables Shell to quickly adapt to market changes and deploy new features faster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685279" y="1860993"/>
            <a:ext cx="5066225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22D378-FCC8-57C0-D386-2140D6B3CC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5593" y="2375407"/>
            <a:ext cx="4928235" cy="3047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mplementing Testing concepts on Azure was simple. Understanding the </a:t>
            </a:r>
            <a:r>
              <a:rPr lang="en-US" sz="2000" dirty="0" err="1"/>
              <a:t>Fitnesse</a:t>
            </a:r>
            <a:r>
              <a:rPr lang="en-US" sz="2000" dirty="0"/>
              <a:t> tool and Junit was a bit confusing at first, but the facilitators were very helpful in making us understand how to write different test cases and begin TDD.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3074" name="Picture 2" descr="Getting Started with FitNesse - a Collaboration Tool for Testers and ...">
            <a:extLst>
              <a:ext uri="{FF2B5EF4-FFF2-40B4-BE49-F238E27FC236}">
                <a16:creationId xmlns:a16="http://schemas.microsoft.com/office/drawing/2014/main" id="{171D25CA-2B50-90A4-CF6F-2A7E55A54E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85"/>
          <a:stretch/>
        </p:blipFill>
        <p:spPr bwMode="auto">
          <a:xfrm>
            <a:off x="6556375" y="2358390"/>
            <a:ext cx="4934585" cy="2831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he facilitators were very thorough in explaining the syntax of the SQL commands and how to operate </a:t>
            </a:r>
            <a:r>
              <a:rPr lang="en-US" sz="2000" dirty="0" err="1"/>
              <a:t>PostGreSQL</a:t>
            </a:r>
            <a:r>
              <a:rPr lang="en-US" sz="2000" dirty="0"/>
              <a:t> so it was easy to follow and create tables, insert and update records and join table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2050" name="Picture 2" descr="Foreign key Postgresql">
            <a:extLst>
              <a:ext uri="{FF2B5EF4-FFF2-40B4-BE49-F238E27FC236}">
                <a16:creationId xmlns:a16="http://schemas.microsoft.com/office/drawing/2014/main" id="{7822C085-3276-1B81-C34F-D161AF8879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387" y="2789752"/>
            <a:ext cx="4916974" cy="2218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Understanding how to write YAML files and use </a:t>
            </a:r>
            <a:r>
              <a:rPr lang="en-US" sz="2000" dirty="0" err="1"/>
              <a:t>Github</a:t>
            </a:r>
            <a:r>
              <a:rPr lang="en-US" sz="2000" dirty="0"/>
              <a:t> Actions was a little confusing. So were the concepts of how to create a VM on Azure. However, the facilitators helped us in gaining understanding through hands on learning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GB" sz="2400" dirty="0" err="1">
                <a:hlinkClick r:id="rId5"/>
              </a:rPr>
              <a:t>chitteshwari</a:t>
            </a:r>
            <a:r>
              <a:rPr lang="en-GB" sz="2400" dirty="0">
                <a:hlinkClick r:id="rId5"/>
              </a:rPr>
              <a:t>/</a:t>
            </a:r>
            <a:r>
              <a:rPr lang="en-GB" sz="2400" dirty="0" err="1">
                <a:hlinkClick r:id="rId5"/>
              </a:rPr>
              <a:t>Shell_training</a:t>
            </a:r>
            <a:r>
              <a:rPr lang="en-GB" sz="2400" dirty="0">
                <a:hlinkClick r:id="rId5"/>
              </a:rPr>
              <a:t>: This repository has the Journey PPT &amp; hands-on project links for the Shell-</a:t>
            </a:r>
            <a:r>
              <a:rPr lang="en-GB" sz="2400" dirty="0" err="1">
                <a:hlinkClick r:id="rId5"/>
              </a:rPr>
              <a:t>UNext</a:t>
            </a:r>
            <a:r>
              <a:rPr lang="en-GB" sz="2400" dirty="0">
                <a:hlinkClick r:id="rId5"/>
              </a:rPr>
              <a:t> Training Bootcamp (github.com)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0EE01E97-EA8D-EBE8-3098-BF96FE719F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79954" y="2438788"/>
            <a:ext cx="5192395" cy="292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ed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tnesse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ool,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ithub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ctions, Azure VM and the final Use case assessment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6/09/2024: Finish final case study and the documentation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lete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Group activity was conducted to understand Azure DevOps concepts</a:t>
            </a:r>
          </a:p>
          <a:p>
            <a:r>
              <a:rPr lang="en-US" sz="2000" dirty="0"/>
              <a:t>Hands on learning for </a:t>
            </a:r>
            <a:r>
              <a:rPr lang="en-US" sz="2000" dirty="0" err="1"/>
              <a:t>Github</a:t>
            </a:r>
            <a:r>
              <a:rPr lang="en-US" sz="2000" dirty="0"/>
              <a:t> actions</a:t>
            </a:r>
          </a:p>
          <a:p>
            <a:r>
              <a:rPr lang="en-US" sz="2000" dirty="0"/>
              <a:t>VM creation on Azu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8B60B0-41FC-AF8D-CFF2-F5AC2058B8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1112" y="2525389"/>
            <a:ext cx="5250082" cy="2953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/>
              <a:t>Different Stages of STLC and types of testing with hands on learning for the tools like Junit and </a:t>
            </a:r>
            <a:r>
              <a:rPr lang="en-GB" sz="1800" dirty="0" err="1"/>
              <a:t>Fitnesse</a:t>
            </a:r>
            <a:r>
              <a:rPr lang="en-GB" sz="1800" dirty="0"/>
              <a:t> Tool</a:t>
            </a:r>
          </a:p>
          <a:p>
            <a:r>
              <a:rPr lang="en-GB" sz="1800" dirty="0"/>
              <a:t>Repositories and deployment, Pull and Push Request, Commits and merging branches on </a:t>
            </a:r>
            <a:r>
              <a:rPr lang="en-GB" sz="1800" dirty="0" err="1"/>
              <a:t>Github</a:t>
            </a:r>
            <a:endParaRPr lang="en-GB" sz="1800" dirty="0"/>
          </a:p>
          <a:p>
            <a:r>
              <a:rPr lang="en-GB" sz="1800" dirty="0"/>
              <a:t>Workflows and Actions on GitHub along with </a:t>
            </a:r>
            <a:r>
              <a:rPr lang="en-GB" sz="1800" dirty="0" err="1"/>
              <a:t>Github</a:t>
            </a:r>
            <a:r>
              <a:rPr lang="en-GB" sz="1800" dirty="0"/>
              <a:t> Pages -  CI/CD</a:t>
            </a:r>
          </a:p>
          <a:p>
            <a:r>
              <a:rPr lang="en-GB" sz="1800" dirty="0" err="1"/>
              <a:t>PostGreSQL</a:t>
            </a:r>
            <a:r>
              <a:rPr lang="en-GB" sz="1800" dirty="0"/>
              <a:t> and DBMS concepts along with hands on coding</a:t>
            </a:r>
          </a:p>
          <a:p>
            <a:r>
              <a:rPr lang="en-GB" sz="1800" dirty="0"/>
              <a:t>Virtual Machine creation on Azure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“If you’re going through hell, keep going”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4" descr="Free photo &quot;Sea Waves Mumbai Coast&quot;">
            <a:extLst>
              <a:ext uri="{FF2B5EF4-FFF2-40B4-BE49-F238E27FC236}">
                <a16:creationId xmlns:a16="http://schemas.microsoft.com/office/drawing/2014/main" id="{17CA8FEC-740E-3158-AD44-BE1032C48A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725" y="2106717"/>
            <a:ext cx="5534853" cy="358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oftware Testing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The concept of Software Testing Life Cycle and its different stages</a:t>
            </a:r>
          </a:p>
          <a:p>
            <a:r>
              <a:rPr lang="en-US" sz="2000" dirty="0"/>
              <a:t>Types of testing: Black box, White box, Grey box</a:t>
            </a:r>
          </a:p>
          <a:p>
            <a:r>
              <a:rPr lang="en-US" sz="2000" dirty="0"/>
              <a:t>Unit Testing, Integration testing, Smoke testing, Regression testing along with tools used for the same such as </a:t>
            </a:r>
            <a:r>
              <a:rPr lang="en-US" sz="2000" dirty="0" err="1"/>
              <a:t>Fitnesse</a:t>
            </a:r>
            <a:r>
              <a:rPr lang="en-US" sz="2000" dirty="0"/>
              <a:t> and Junit.</a:t>
            </a:r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Creating A New FitNesse Test - Software Testing Class">
            <a:extLst>
              <a:ext uri="{FF2B5EF4-FFF2-40B4-BE49-F238E27FC236}">
                <a16:creationId xmlns:a16="http://schemas.microsoft.com/office/drawing/2014/main" id="{88533B8A-0B80-4F6D-A16B-322ABCCDD9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685" y="2815803"/>
            <a:ext cx="5534933" cy="236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Database Management System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What is DBMS and types of databases along with their use cases</a:t>
            </a:r>
          </a:p>
          <a:p>
            <a:r>
              <a:rPr lang="en-US" sz="2000" dirty="0"/>
              <a:t>Database Definition Language and Database Manipulation Language</a:t>
            </a:r>
          </a:p>
          <a:p>
            <a:r>
              <a:rPr lang="en-US" sz="2000" dirty="0"/>
              <a:t>Syntax: Create, insert, update, alter, join, group by, having, select, min, max, sum</a:t>
            </a:r>
          </a:p>
          <a:p>
            <a:r>
              <a:rPr lang="en-US" sz="2000" dirty="0" err="1"/>
              <a:t>PostGreSQL</a:t>
            </a:r>
            <a:r>
              <a:rPr lang="en-US" sz="2000" dirty="0"/>
              <a:t> hands-on learning</a:t>
            </a:r>
          </a:p>
          <a:p>
            <a:r>
              <a:rPr lang="en-US" sz="2000" dirty="0"/>
              <a:t>This will help manage the huge databases used for storing data from various energy sector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F271594-B1DE-76A0-D80E-5758333337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25111" y="2567028"/>
            <a:ext cx="5314535" cy="266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Cloud and DevOp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GB" sz="2000" dirty="0"/>
              <a:t>Private, Public and Hybrid Cloud</a:t>
            </a:r>
          </a:p>
          <a:p>
            <a:r>
              <a:rPr lang="en-GB" sz="2000" dirty="0"/>
              <a:t>IaaS, SaaS and PaaS with examples</a:t>
            </a:r>
          </a:p>
          <a:p>
            <a:r>
              <a:rPr lang="en-GB" sz="2000" dirty="0"/>
              <a:t>CI/CD concept using </a:t>
            </a:r>
            <a:r>
              <a:rPr lang="en-GB" sz="2000" dirty="0" err="1"/>
              <a:t>Github</a:t>
            </a:r>
            <a:r>
              <a:rPr lang="en-GB" sz="2000" dirty="0"/>
              <a:t> Actions with hands-on learning which will help deploy and publish code while developing applications for the energy sector: Workflows, branches, pull and push requests, merge, pages</a:t>
            </a:r>
          </a:p>
          <a:p>
            <a:r>
              <a:rPr lang="en-GB" sz="2000" dirty="0"/>
              <a:t>Azure DevOps: user stories and test cases</a:t>
            </a:r>
          </a:p>
          <a:p>
            <a:pPr marL="0" indent="0">
              <a:buNone/>
            </a:pPr>
            <a:r>
              <a:rPr lang="en-GB" sz="1200" dirty="0" err="1">
                <a:hlinkClick r:id="rId7"/>
              </a:rPr>
              <a:t>chitteshwari</a:t>
            </a:r>
            <a:r>
              <a:rPr lang="en-GB" sz="1200" dirty="0">
                <a:hlinkClick r:id="rId7"/>
              </a:rPr>
              <a:t>/</a:t>
            </a:r>
            <a:r>
              <a:rPr lang="en-GB" sz="1200" dirty="0" err="1">
                <a:hlinkClick r:id="rId7"/>
              </a:rPr>
              <a:t>Shell_training</a:t>
            </a:r>
            <a:r>
              <a:rPr lang="en-GB" sz="1200" dirty="0">
                <a:hlinkClick r:id="rId7"/>
              </a:rPr>
              <a:t>: This repository has the Journey PPT &amp; hands-on project links for the Shell-</a:t>
            </a:r>
            <a:r>
              <a:rPr lang="en-GB" sz="1200" dirty="0" err="1">
                <a:hlinkClick r:id="rId7"/>
              </a:rPr>
              <a:t>UNext</a:t>
            </a:r>
            <a:r>
              <a:rPr lang="en-GB" sz="1200" dirty="0">
                <a:hlinkClick r:id="rId7"/>
              </a:rPr>
              <a:t> Training Bootcamp (github.com)</a:t>
            </a:r>
            <a:endParaRPr lang="en-GB" sz="12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F6EDC8-456E-AD10-05C3-883E9FE33E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19436" y="2423021"/>
            <a:ext cx="5513431" cy="29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/>
              <a:t>Automated Testing: Shell uses automated tools to catch bugs early and ensure software quality.</a:t>
            </a:r>
          </a:p>
          <a:p>
            <a:pPr marL="0" indent="0">
              <a:buNone/>
            </a:pPr>
            <a:r>
              <a:rPr lang="en-GB" sz="2000" dirty="0"/>
              <a:t>CI/CD: They implement CI/CD pipelines to automate testing and deployment processes.</a:t>
            </a:r>
          </a:p>
          <a:p>
            <a:pPr marL="0" indent="0">
              <a:buNone/>
            </a:pPr>
            <a:r>
              <a:rPr lang="en-GB" sz="2000" dirty="0"/>
              <a:t>Regression Testing: Regular regression tests ensure new changes don’t disrupt existing functionalities.</a:t>
            </a:r>
          </a:p>
          <a:p>
            <a:pPr marL="0" indent="0">
              <a:buNone/>
            </a:pPr>
            <a:r>
              <a:rPr lang="en-GB" sz="2000" dirty="0"/>
              <a:t>Performance Testing: Rigorous performance tests verify software can handle high loads and various conditions.</a:t>
            </a:r>
          </a:p>
          <a:p>
            <a:pPr marL="0" indent="0">
              <a:buNone/>
            </a:pPr>
            <a:r>
              <a:rPr lang="en-GB" sz="2000" dirty="0"/>
              <a:t>Manual Testing: Manual tests validate user experiences and meet business requirements.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4098" name="Picture 2" descr="Test Driven Development (TDD) Tools and Agile Process">
            <a:extLst>
              <a:ext uri="{FF2B5EF4-FFF2-40B4-BE49-F238E27FC236}">
                <a16:creationId xmlns:a16="http://schemas.microsoft.com/office/drawing/2014/main" id="{13E7B9E7-CA7E-F9B2-ECA5-150F1664E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929" y="2554183"/>
            <a:ext cx="4799750" cy="2689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/>
              <a:t>Data Storage: Shell uses DBMS to store large volumes of structured data efficiently.</a:t>
            </a:r>
          </a:p>
          <a:p>
            <a:pPr marL="0" indent="0">
              <a:buNone/>
            </a:pPr>
            <a:r>
              <a:rPr lang="en-GB" sz="2000" dirty="0"/>
              <a:t>Data Retrieval: They utilize DBMS for quick and reliable data retrieval to support decision-making.</a:t>
            </a:r>
          </a:p>
          <a:p>
            <a:pPr marL="0" indent="0">
              <a:buNone/>
            </a:pPr>
            <a:r>
              <a:rPr lang="en-GB" sz="2000" dirty="0"/>
              <a:t>Data Security: DBMS ensures data security and integrity through access controls and encryption.</a:t>
            </a:r>
          </a:p>
          <a:p>
            <a:pPr marL="0" indent="0">
              <a:buNone/>
            </a:pPr>
            <a:r>
              <a:rPr lang="en-GB" sz="2000" dirty="0"/>
              <a:t>Data Analysis: Shell leverages DBMS for complex data analysis and reporting.</a:t>
            </a:r>
          </a:p>
          <a:p>
            <a:pPr marL="0" indent="0">
              <a:buNone/>
            </a:pPr>
            <a:r>
              <a:rPr lang="en-GB" sz="2000" dirty="0"/>
              <a:t>Data Integration: DBMS helps integrate data from various sources for a unified view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5122" name="Picture 2" descr="Relational VS Non Relational Databases | by Angelica Lo Duca | Towards ...">
            <a:extLst>
              <a:ext uri="{FF2B5EF4-FFF2-40B4-BE49-F238E27FC236}">
                <a16:creationId xmlns:a16="http://schemas.microsoft.com/office/drawing/2014/main" id="{8F46C2A4-765B-150A-D879-D6A059B5B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672" y="2533650"/>
            <a:ext cx="5140960" cy="2891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27</TotalTime>
  <Words>814</Words>
  <Application>Microsoft Office PowerPoint</Application>
  <PresentationFormat>Widescreen</PresentationFormat>
  <Paragraphs>89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Satish, Chitteshwari SBOBNG-PTIY/TEG</cp:lastModifiedBy>
  <cp:revision>499</cp:revision>
  <dcterms:created xsi:type="dcterms:W3CDTF">2022-01-18T12:35:56Z</dcterms:created>
  <dcterms:modified xsi:type="dcterms:W3CDTF">2024-09-06T11:0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